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61" r:id="rId4"/>
  </p:sldMasterIdLst>
  <p:notesMasterIdLst>
    <p:notesMasterId r:id="rId6"/>
  </p:notesMasterIdLst>
  <p:handoutMasterIdLst>
    <p:handoutMasterId r:id="rId7"/>
  </p:handoutMasterIdLst>
  <p:sldIdLst>
    <p:sldId id="11964" r:id="rId5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62DD444-298D-FE6D-1EC5-336B31E8C50A}" name="Benjamin Maurice" initials="" userId="S::benjamin.maurice@welocalize.com::7c64deef-e36e-489a-b415-b5255cbb3e78" providerId="AD"/>
  <p188:author id="{CE731F5D-0AC5-3C92-175B-931FA3725147}" name="Brennan Smith" initials="BS" userId="S::brennan.smith@welocalize.com::9a5fa2d7-113e-4b27-a764-ebf548dfe934" providerId="AD"/>
  <p188:author id="{65BB75A1-86B2-1C8A-8C82-1B98684BDEFF}" name="Daniel O'Brien" initials="DO" userId="S::daniel.obrien@welocalize.com::77643a7d-7eab-4233-b0ad-fc63ccb896e8" providerId="AD"/>
  <p188:author id="{3701B0AB-03CD-B746-4EFF-656168DB4384}" name="Brian Tulloch" initials="BT" userId="S::brian.tulloch@welocalize.com::a7e21069-c78e-43c1-a9f2-49a847b5cf57" providerId="AD"/>
  <p188:author id="{8DB6DCAE-BDC8-BE6D-F168-17AD0B17D22A}" name="Kaley Ramirez, Global Marketing" initials="KR" userId="Kaley Ramirez, Global Marketing" providerId="None"/>
  <p188:author id="{23DCCCB3-5AF3-94F2-A0E8-50F294327E06}" name="Liv Alexander" initials="LA" userId="S::liv.alexander@welocalize.com::cfeb7d58-f53a-4d29-8cbd-6dc68d345230" providerId="AD"/>
  <p188:author id="{F7F3FBBB-029D-EDDE-6341-1A734C2D627D}" name="Brennan Smith" initials="BS" userId="S::Brennan.Smith@welocalize.com::9a5fa2d7-113e-4b27-a764-ebf548dfe934" providerId="AD"/>
  <p188:author id="{AD9880F3-D505-A3B6-005B-75243BDD44D0}" name="Paul Carr" initials="PC" userId="S::paul.carr@welocalize.com::2145fe85-f0ba-4e40-ae1c-231261e6491c" providerId="AD"/>
  <p188:author id="{45AF2FFB-6220-816D-96E3-212C5A01926C}" name="Kaley Ramirez" initials="KR" userId="S::kaley.ramirez@welocalize.com::7b64436c-6eb9-4b08-bb8c-e9bb7e5823c1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00"/>
    <a:srgbClr val="364D6E"/>
    <a:srgbClr val="262626"/>
    <a:srgbClr val="1A5979"/>
    <a:srgbClr val="5283A5"/>
    <a:srgbClr val="1F6C96"/>
    <a:srgbClr val="007770"/>
    <a:srgbClr val="FCF1DB"/>
    <a:srgbClr val="70AD47"/>
    <a:srgbClr val="954F7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A5F3A25-C444-4E67-98D8-81D8C4685C8B}" v="1" dt="2024-04-11T19:03:58.23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584" autoAdjust="0"/>
    <p:restoredTop sz="93447" autoAdjust="0"/>
  </p:normalViewPr>
  <p:slideViewPr>
    <p:cSldViewPr snapToGrid="0">
      <p:cViewPr varScale="1">
        <p:scale>
          <a:sx n="100" d="100"/>
          <a:sy n="100" d="100"/>
        </p:scale>
        <p:origin x="990" y="2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microsoft.com/office/2018/10/relationships/authors" Target="authors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iv Alexander" userId="cfeb7d58-f53a-4d29-8cbd-6dc68d345230" providerId="ADAL" clId="{1A5F3A25-C444-4E67-98D8-81D8C4685C8B}"/>
    <pc:docChg chg="custSel delSld modSld">
      <pc:chgData name="Liv Alexander" userId="cfeb7d58-f53a-4d29-8cbd-6dc68d345230" providerId="ADAL" clId="{1A5F3A25-C444-4E67-98D8-81D8C4685C8B}" dt="2024-04-11T14:54:49.391" v="7" actId="6549"/>
      <pc:docMkLst>
        <pc:docMk/>
      </pc:docMkLst>
      <pc:sldChg chg="del">
        <pc:chgData name="Liv Alexander" userId="cfeb7d58-f53a-4d29-8cbd-6dc68d345230" providerId="ADAL" clId="{1A5F3A25-C444-4E67-98D8-81D8C4685C8B}" dt="2024-04-11T14:54:39.039" v="0" actId="47"/>
        <pc:sldMkLst>
          <pc:docMk/>
          <pc:sldMk cId="2340469100" sldId="11807"/>
        </pc:sldMkLst>
      </pc:sldChg>
      <pc:sldChg chg="del">
        <pc:chgData name="Liv Alexander" userId="cfeb7d58-f53a-4d29-8cbd-6dc68d345230" providerId="ADAL" clId="{1A5F3A25-C444-4E67-98D8-81D8C4685C8B}" dt="2024-04-11T14:54:40.799" v="1" actId="47"/>
        <pc:sldMkLst>
          <pc:docMk/>
          <pc:sldMk cId="2832162631" sldId="11954"/>
        </pc:sldMkLst>
      </pc:sldChg>
      <pc:sldChg chg="del">
        <pc:chgData name="Liv Alexander" userId="cfeb7d58-f53a-4d29-8cbd-6dc68d345230" providerId="ADAL" clId="{1A5F3A25-C444-4E67-98D8-81D8C4685C8B}" dt="2024-04-11T14:54:42.055" v="4" actId="47"/>
        <pc:sldMkLst>
          <pc:docMk/>
          <pc:sldMk cId="1752465532" sldId="11958"/>
        </pc:sldMkLst>
      </pc:sldChg>
      <pc:sldChg chg="del">
        <pc:chgData name="Liv Alexander" userId="cfeb7d58-f53a-4d29-8cbd-6dc68d345230" providerId="ADAL" clId="{1A5F3A25-C444-4E67-98D8-81D8C4685C8B}" dt="2024-04-11T14:54:39.039" v="0" actId="47"/>
        <pc:sldMkLst>
          <pc:docMk/>
          <pc:sldMk cId="1238185051" sldId="11962"/>
        </pc:sldMkLst>
      </pc:sldChg>
      <pc:sldChg chg="del">
        <pc:chgData name="Liv Alexander" userId="cfeb7d58-f53a-4d29-8cbd-6dc68d345230" providerId="ADAL" clId="{1A5F3A25-C444-4E67-98D8-81D8C4685C8B}" dt="2024-04-11T14:54:41.521" v="3" actId="47"/>
        <pc:sldMkLst>
          <pc:docMk/>
          <pc:sldMk cId="3550854731" sldId="11963"/>
        </pc:sldMkLst>
      </pc:sldChg>
      <pc:sldChg chg="delSp modSp mod">
        <pc:chgData name="Liv Alexander" userId="cfeb7d58-f53a-4d29-8cbd-6dc68d345230" providerId="ADAL" clId="{1A5F3A25-C444-4E67-98D8-81D8C4685C8B}" dt="2024-04-11T14:54:49.391" v="7" actId="6549"/>
        <pc:sldMkLst>
          <pc:docMk/>
          <pc:sldMk cId="638241705" sldId="11964"/>
        </pc:sldMkLst>
        <pc:spChg chg="mod">
          <ac:chgData name="Liv Alexander" userId="cfeb7d58-f53a-4d29-8cbd-6dc68d345230" providerId="ADAL" clId="{1A5F3A25-C444-4E67-98D8-81D8C4685C8B}" dt="2024-04-11T14:54:45.809" v="5" actId="6549"/>
          <ac:spMkLst>
            <pc:docMk/>
            <pc:sldMk cId="638241705" sldId="11964"/>
            <ac:spMk id="8" creationId="{9E79C4F4-C653-D989-865F-351B5C9EF172}"/>
          </ac:spMkLst>
        </pc:spChg>
        <pc:spChg chg="mod">
          <ac:chgData name="Liv Alexander" userId="cfeb7d58-f53a-4d29-8cbd-6dc68d345230" providerId="ADAL" clId="{1A5F3A25-C444-4E67-98D8-81D8C4685C8B}" dt="2024-04-11T14:54:49.391" v="7" actId="6549"/>
          <ac:spMkLst>
            <pc:docMk/>
            <pc:sldMk cId="638241705" sldId="11964"/>
            <ac:spMk id="12" creationId="{8E389253-9CB6-4839-13CF-A4B448EFFBBC}"/>
          </ac:spMkLst>
        </pc:spChg>
        <pc:picChg chg="del">
          <ac:chgData name="Liv Alexander" userId="cfeb7d58-f53a-4d29-8cbd-6dc68d345230" providerId="ADAL" clId="{1A5F3A25-C444-4E67-98D8-81D8C4685C8B}" dt="2024-04-11T14:54:46.861" v="6" actId="478"/>
          <ac:picMkLst>
            <pc:docMk/>
            <pc:sldMk cId="638241705" sldId="11964"/>
            <ac:picMk id="3" creationId="{8D1A2978-8726-04F1-9BA8-03A037EE1AA6}"/>
          </ac:picMkLst>
        </pc:picChg>
      </pc:sldChg>
      <pc:sldChg chg="del">
        <pc:chgData name="Liv Alexander" userId="cfeb7d58-f53a-4d29-8cbd-6dc68d345230" providerId="ADAL" clId="{1A5F3A25-C444-4E67-98D8-81D8C4685C8B}" dt="2024-04-11T14:54:41.238" v="2" actId="47"/>
        <pc:sldMkLst>
          <pc:docMk/>
          <pc:sldMk cId="3576696000" sldId="11965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9DF2B80-ADA8-9C7B-D7B0-2EC13AB0932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9AE458D-1168-AE11-D0C8-5F35B509824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693B24-321B-854C-9595-978F929B2CA8}" type="datetimeFigureOut">
              <a:rPr lang="en-US" smtClean="0"/>
              <a:t>1/16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400269-5842-CB62-44E3-1FDD8893749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4F92FCE-7698-44E0-1822-4F262A5603E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89A59C2-DC08-D840-ACF0-203AB32A2F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9625000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680CEBC-C1A4-5947-BCF5-71FF5D2537F4}" type="datetimeFigureOut">
              <a:rPr lang="en-US" smtClean="0"/>
              <a:t>1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361A9A-33E0-F041-868D-6965D21669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85588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A2F306-16AC-31BB-A86E-D11368451C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8160072-395B-B0FF-9FEE-C6D6CCDCC01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82098BB-88A4-CD49-3264-D56E6163646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8B9CC8-7FE5-BADC-3686-C2C60FFD28C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361A9A-33E0-F041-868D-6965D216691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78003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ack circle on a red background&#10;&#10;Description automatically generated">
            <a:extLst>
              <a:ext uri="{FF2B5EF4-FFF2-40B4-BE49-F238E27FC236}">
                <a16:creationId xmlns:a16="http://schemas.microsoft.com/office/drawing/2014/main" id="{C223C26B-AD49-D76C-02D0-922D0715320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12504CC4-8FB9-8C19-CDE0-A0C9F08439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1485900"/>
            <a:ext cx="4367753" cy="2028825"/>
          </a:xfrm>
        </p:spPr>
        <p:txBody>
          <a:bodyPr anchor="b" anchorCtr="0">
            <a:noAutofit/>
          </a:bodyPr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Insert Presentation Title Her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13698492-31ED-6E18-BE79-5D8CCD72316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3689722"/>
            <a:ext cx="4386606" cy="283099"/>
          </a:xfrm>
        </p:spPr>
        <p:txBody>
          <a:bodyPr>
            <a:noAutofit/>
          </a:bodyPr>
          <a:lstStyle>
            <a:lvl1pPr marL="0" indent="0" algn="l">
              <a:buNone/>
              <a:defRPr sz="1600" b="1" spc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Date Her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FBB328D-61A0-F1AE-B78B-1B45F03BC4C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94943" y="600515"/>
            <a:ext cx="2126211" cy="447997"/>
          </a:xfrm>
          <a:prstGeom prst="rect">
            <a:avLst/>
          </a:prstGeom>
        </p:spPr>
      </p:pic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96548660-CF21-C6CA-1CF6-44B60CBAFEA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" y="5432613"/>
            <a:ext cx="2268071" cy="1021976"/>
          </a:xfrm>
        </p:spPr>
        <p:txBody>
          <a:bodyPr lIns="0" tIns="0" rIns="0" bIns="0" anchor="ctr" anchorCtr="0">
            <a:normAutofit/>
          </a:bodyPr>
          <a:lstStyle>
            <a:lvl1pPr algn="ctr">
              <a:defRPr sz="1100" b="1"/>
            </a:lvl1pPr>
          </a:lstStyle>
          <a:p>
            <a:r>
              <a:rPr lang="en-US"/>
              <a:t>Insert Client Logo</a:t>
            </a:r>
          </a:p>
        </p:txBody>
      </p:sp>
    </p:spTree>
    <p:extLst>
      <p:ext uri="{BB962C8B-B14F-4D97-AF65-F5344CB8AC3E}">
        <p14:creationId xmlns:p14="http://schemas.microsoft.com/office/powerpoint/2010/main" val="35552435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Tex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BC600D46-C743-FB14-F093-D2C812E383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8977023" y="3689511"/>
            <a:ext cx="3760861" cy="376086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62E6FFDA-A25D-6D5B-A248-2AD1BD22141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300331" y="509588"/>
            <a:ext cx="523701" cy="548640"/>
          </a:xfrm>
          <a:prstGeom prst="rect">
            <a:avLst/>
          </a:prstGeom>
        </p:spPr>
      </p:pic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5768405-7374-CE53-26CF-488057A8CB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" y="6248401"/>
            <a:ext cx="10972800" cy="381000"/>
          </a:xfrm>
        </p:spPr>
        <p:txBody>
          <a:bodyPr anchor="b" anchorCtr="0">
            <a:noAutofit/>
          </a:bodyPr>
          <a:lstStyle>
            <a:lvl1pPr>
              <a:defRPr sz="1000" b="0" i="1">
                <a:solidFill>
                  <a:schemeClr val="tx1">
                    <a:lumMod val="75000"/>
                    <a:lumOff val="2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pPr lvl="4"/>
            <a:r>
              <a:rPr lang="en-US"/>
              <a:t>Footer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42C77E1-FB08-1E31-359A-75C35178A6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1249" y="561813"/>
            <a:ext cx="10408920" cy="495935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16773942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lack circle on a blue background&#10;&#10;Description automatically generated">
            <a:extLst>
              <a:ext uri="{FF2B5EF4-FFF2-40B4-BE49-F238E27FC236}">
                <a16:creationId xmlns:a16="http://schemas.microsoft.com/office/drawing/2014/main" id="{E37D6EBD-6166-E7F0-E0F0-F06A39F67C1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EFBB328D-61A0-F1AE-B78B-1B45F03BC4C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94943" y="600515"/>
            <a:ext cx="2126211" cy="44799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F71819-0075-A50E-6FAD-5102BFB0CA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1485900"/>
            <a:ext cx="4367753" cy="2028825"/>
          </a:xfrm>
        </p:spPr>
        <p:txBody>
          <a:bodyPr anchor="b" anchorCtr="0">
            <a:noAutofit/>
          </a:bodyPr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Insert Presentation Title Here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3F8E9473-587E-2368-B87A-78D063B09D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3689722"/>
            <a:ext cx="4386606" cy="283099"/>
          </a:xfrm>
        </p:spPr>
        <p:txBody>
          <a:bodyPr>
            <a:noAutofit/>
          </a:bodyPr>
          <a:lstStyle>
            <a:lvl1pPr marL="0" indent="0" algn="l">
              <a:buNone/>
              <a:defRPr sz="1600" b="1" spc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Date Here</a:t>
            </a:r>
          </a:p>
        </p:txBody>
      </p:sp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8296622F-F08B-3B31-2F5A-3AA40D3E0C5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" y="5432613"/>
            <a:ext cx="2268071" cy="1021976"/>
          </a:xfrm>
        </p:spPr>
        <p:txBody>
          <a:bodyPr lIns="0" tIns="0" rIns="0" bIns="0" anchor="ctr" anchorCtr="0">
            <a:normAutofit/>
          </a:bodyPr>
          <a:lstStyle>
            <a:lvl1pPr algn="ctr">
              <a:defRPr sz="1100" b="1"/>
            </a:lvl1pPr>
          </a:lstStyle>
          <a:p>
            <a:r>
              <a:rPr lang="en-US"/>
              <a:t>Insert Client Logo</a:t>
            </a:r>
          </a:p>
        </p:txBody>
      </p:sp>
    </p:spTree>
    <p:extLst>
      <p:ext uri="{BB962C8B-B14F-4D97-AF65-F5344CB8AC3E}">
        <p14:creationId xmlns:p14="http://schemas.microsoft.com/office/powerpoint/2010/main" val="6638692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C7EB50D-5077-51AA-B615-44B87E60E3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EFBB328D-61A0-F1AE-B78B-1B45F03BC4C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94943" y="600515"/>
            <a:ext cx="2126211" cy="44799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3943386-FCD8-27F9-FEF7-9029BCBC4F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1485900"/>
            <a:ext cx="4367753" cy="2028825"/>
          </a:xfrm>
        </p:spPr>
        <p:txBody>
          <a:bodyPr anchor="b" anchorCtr="0">
            <a:noAutofit/>
          </a:bodyPr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Insert Presentation Title Here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9348D9FD-B5CB-6661-C53B-F72A0836400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3689722"/>
            <a:ext cx="4386606" cy="283099"/>
          </a:xfrm>
        </p:spPr>
        <p:txBody>
          <a:bodyPr>
            <a:noAutofit/>
          </a:bodyPr>
          <a:lstStyle>
            <a:lvl1pPr marL="0" indent="0" algn="l">
              <a:buNone/>
              <a:defRPr sz="1600" b="1" spc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Date Here</a:t>
            </a:r>
          </a:p>
        </p:txBody>
      </p:sp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3D03E793-7291-2BEC-CF7D-8109CAFED05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" y="5432613"/>
            <a:ext cx="2268071" cy="1021976"/>
          </a:xfrm>
        </p:spPr>
        <p:txBody>
          <a:bodyPr lIns="0" tIns="0" rIns="0" bIns="0" anchor="ctr" anchorCtr="0">
            <a:normAutofit/>
          </a:bodyPr>
          <a:lstStyle>
            <a:lvl1pPr algn="ctr">
              <a:defRPr sz="1100" b="1"/>
            </a:lvl1pPr>
          </a:lstStyle>
          <a:p>
            <a:r>
              <a:rPr lang="en-US"/>
              <a:t>Insert Client Logo</a:t>
            </a:r>
          </a:p>
        </p:txBody>
      </p:sp>
    </p:spTree>
    <p:extLst>
      <p:ext uri="{BB962C8B-B14F-4D97-AF65-F5344CB8AC3E}">
        <p14:creationId xmlns:p14="http://schemas.microsoft.com/office/powerpoint/2010/main" val="36299175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ack circle and blue circle&#10;&#10;Description automatically generated">
            <a:extLst>
              <a:ext uri="{FF2B5EF4-FFF2-40B4-BE49-F238E27FC236}">
                <a16:creationId xmlns:a16="http://schemas.microsoft.com/office/drawing/2014/main" id="{DC7EB50D-5077-51AA-B615-44B87E60E3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EFBB328D-61A0-F1AE-B78B-1B45F03BC4C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94943" y="600515"/>
            <a:ext cx="2126211" cy="44799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4E72292-74B3-FD3A-78D8-7D72A42703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1485900"/>
            <a:ext cx="4367753" cy="2028825"/>
          </a:xfrm>
        </p:spPr>
        <p:txBody>
          <a:bodyPr anchor="b" anchorCtr="0">
            <a:noAutofit/>
          </a:bodyPr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Insert Presentation Title Here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C984AE73-31A5-02BA-5F27-5A369D6426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3689722"/>
            <a:ext cx="4386606" cy="283099"/>
          </a:xfrm>
        </p:spPr>
        <p:txBody>
          <a:bodyPr>
            <a:noAutofit/>
          </a:bodyPr>
          <a:lstStyle>
            <a:lvl1pPr marL="0" indent="0" algn="l">
              <a:buNone/>
              <a:defRPr sz="1600" b="1" spc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Date Here</a:t>
            </a:r>
          </a:p>
        </p:txBody>
      </p:sp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87D09E7A-3216-56FD-887A-CBA95D019D3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" y="5432613"/>
            <a:ext cx="2268071" cy="1021976"/>
          </a:xfrm>
        </p:spPr>
        <p:txBody>
          <a:bodyPr lIns="0" tIns="0" rIns="0" bIns="0" anchor="ctr" anchorCtr="0">
            <a:normAutofit/>
          </a:bodyPr>
          <a:lstStyle>
            <a:lvl1pPr algn="ctr">
              <a:defRPr sz="1100" b="1"/>
            </a:lvl1pPr>
          </a:lstStyle>
          <a:p>
            <a:r>
              <a:rPr lang="en-US"/>
              <a:t>Insert Client Logo</a:t>
            </a:r>
          </a:p>
        </p:txBody>
      </p:sp>
    </p:spTree>
    <p:extLst>
      <p:ext uri="{BB962C8B-B14F-4D97-AF65-F5344CB8AC3E}">
        <p14:creationId xmlns:p14="http://schemas.microsoft.com/office/powerpoint/2010/main" val="26486596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- Image Bas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11A78855-1C36-582C-031B-E31761E0393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8968" y="1982804"/>
            <a:ext cx="5030687" cy="3108960"/>
          </a:xfrm>
        </p:spPr>
        <p:txBody>
          <a:bodyPr anchor="ctr" anchorCtr="0">
            <a:normAutofit/>
          </a:bodyPr>
          <a:lstStyle>
            <a:lvl1pPr marL="0" indent="0" algn="l" defTabSz="914400" rtl="0" eaLnBrk="1" latinLnBrk="0" hangingPunct="1">
              <a:buNone/>
              <a:defRPr lang="en-US" sz="3200" b="1" kern="1200" dirty="0" smtClean="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1pPr>
            <a:lvl2pPr marL="0" algn="l" defTabSz="914400" rtl="0" eaLnBrk="1" latinLnBrk="0" hangingPunct="1">
              <a:defRPr lang="en-US" sz="3200" b="1" kern="1200" dirty="0">
                <a:solidFill>
                  <a:schemeClr val="bg1"/>
                </a:solidFill>
                <a:latin typeface="Montserrat" pitchFamily="2" charset="77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Section Divider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E0988509-3936-5414-52D7-C62F63ACE968}"/>
              </a:ext>
            </a:extLst>
          </p:cNvPr>
          <p:cNvGrpSpPr/>
          <p:nvPr userDrawn="1"/>
        </p:nvGrpSpPr>
        <p:grpSpPr>
          <a:xfrm rot="10800000">
            <a:off x="5935054" y="527679"/>
            <a:ext cx="6377139" cy="6330321"/>
            <a:chOff x="5064317" y="-758555"/>
            <a:chExt cx="7008977" cy="6957522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5AFB4543-2485-1861-01FC-C30AEB28ECCC}"/>
                </a:ext>
              </a:extLst>
            </p:cNvPr>
            <p:cNvSpPr/>
            <p:nvPr userDrawn="1"/>
          </p:nvSpPr>
          <p:spPr>
            <a:xfrm>
              <a:off x="5874327" y="0"/>
              <a:ext cx="6198967" cy="6198967"/>
            </a:xfrm>
            <a:prstGeom prst="ellipse">
              <a:avLst/>
            </a:prstGeom>
            <a:solidFill>
              <a:srgbClr val="F1E8D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0E04D2F3-AFEC-4A64-D70B-6B39249864C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5400000">
              <a:off x="5064317" y="-758555"/>
              <a:ext cx="4711544" cy="471154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759156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ack rectangle with white dots&#10;&#10;Description automatically generated">
            <a:extLst>
              <a:ext uri="{FF2B5EF4-FFF2-40B4-BE49-F238E27FC236}">
                <a16:creationId xmlns:a16="http://schemas.microsoft.com/office/drawing/2014/main" id="{CDFA0CA0-EF1D-FF53-5E66-2E7C902A581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58E9ED78-6F40-9FD6-FE36-CB8C7005D1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552577"/>
            <a:ext cx="7325959" cy="49593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A19B145-5717-99F9-6201-3337DCBE3F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" y="1485900"/>
            <a:ext cx="4769225" cy="496093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  <a:latin typeface="Montserrat" pitchFamily="2" charset="77"/>
              </a:defRPr>
            </a:lvl1pPr>
            <a:lvl2pPr marL="628650" indent="-171450">
              <a:buFont typeface="Arial" panose="020B0604020202020204" pitchFamily="34" charset="0"/>
              <a:buChar char="•"/>
              <a:defRPr sz="1400"/>
            </a:lvl2pPr>
            <a:lvl3pPr marL="914400" indent="0">
              <a:buFont typeface="Arial" panose="020B0604020202020204" pitchFamily="34" charset="0"/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343B199F-DFA8-69A9-45D9-87E384C1E1D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300331" y="509588"/>
            <a:ext cx="523701" cy="54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8899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ack rectangle with white dots&#10;&#10;Description automatically generated">
            <a:extLst>
              <a:ext uri="{FF2B5EF4-FFF2-40B4-BE49-F238E27FC236}">
                <a16:creationId xmlns:a16="http://schemas.microsoft.com/office/drawing/2014/main" id="{ED19A0F6-97EA-661C-8F0A-3651C6F1A68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BBAE801F-1CC6-58DA-A20F-A1ACF9E187C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300331" y="509588"/>
            <a:ext cx="523701" cy="548640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58E9ED78-6F40-9FD6-FE36-CB8C7005D1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552577"/>
            <a:ext cx="8640278" cy="49593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A19B145-5717-99F9-6201-3337DCBE3F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" y="1485900"/>
            <a:ext cx="3980688" cy="496093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  <a:latin typeface="Montserrat" pitchFamily="2" charset="77"/>
              </a:defRPr>
            </a:lvl1pPr>
            <a:lvl2pPr marL="628650" indent="-171450"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914400" indent="0">
              <a:buFont typeface="Arial" panose="020B0604020202020204" pitchFamily="34" charset="0"/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5448951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Oran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ack rectangle with white dots&#10;&#10;Description automatically generated">
            <a:extLst>
              <a:ext uri="{FF2B5EF4-FFF2-40B4-BE49-F238E27FC236}">
                <a16:creationId xmlns:a16="http://schemas.microsoft.com/office/drawing/2014/main" id="{0E2DF313-198C-39CA-CE4C-F16AB4C8B7E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BBAE801F-1CC6-58DA-A20F-A1ACF9E187C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300331" y="509588"/>
            <a:ext cx="523701" cy="548640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58E9ED78-6F40-9FD6-FE36-CB8C7005D1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552577"/>
            <a:ext cx="10408920" cy="49593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A19B145-5717-99F9-6201-3337DCBE3F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" y="1485900"/>
            <a:ext cx="3980688" cy="496093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  <a:latin typeface="Montserrat" pitchFamily="2" charset="77"/>
              </a:defRPr>
            </a:lvl1pPr>
            <a:lvl2pPr marL="628650" indent="-171450">
              <a:buFont typeface="Arial" panose="020B0604020202020204" pitchFamily="34" charset="0"/>
              <a:buChar char="•"/>
              <a:defRPr sz="1400"/>
            </a:lvl2pPr>
            <a:lvl3pPr marL="914400" indent="0">
              <a:buFont typeface="Arial" panose="020B0604020202020204" pitchFamily="34" charset="0"/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6922448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Aqu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ack rectangle with white dots&#10;&#10;Description automatically generated">
            <a:extLst>
              <a:ext uri="{FF2B5EF4-FFF2-40B4-BE49-F238E27FC236}">
                <a16:creationId xmlns:a16="http://schemas.microsoft.com/office/drawing/2014/main" id="{E8C8B405-9142-173B-BE2D-369DA0D8A0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BBAE801F-1CC6-58DA-A20F-A1ACF9E187C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300331" y="509588"/>
            <a:ext cx="523701" cy="548640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58E9ED78-6F40-9FD6-FE36-CB8C7005D1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552577"/>
            <a:ext cx="10408920" cy="49593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A19B145-5717-99F9-6201-3337DCBE3F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" y="1485900"/>
            <a:ext cx="3980688" cy="496093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  <a:latin typeface="Montserrat" pitchFamily="2" charset="77"/>
              </a:defRPr>
            </a:lvl1pPr>
            <a:lvl2pPr marL="628650" indent="-171450">
              <a:buFont typeface="Arial" panose="020B0604020202020204" pitchFamily="34" charset="0"/>
              <a:buChar char="•"/>
              <a:defRPr sz="1400"/>
            </a:lvl2pPr>
            <a:lvl3pPr marL="914400" indent="0">
              <a:buFont typeface="Arial" panose="020B0604020202020204" pitchFamily="34" charset="0"/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0744887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F752CDD-6FAA-6B01-FD0C-219DC4FB2B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63302702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7772400" imgH="10058400" progId="TCLayout.ActiveDocument.1">
                  <p:embed/>
                </p:oleObj>
              </mc:Choice>
              <mc:Fallback>
                <p:oleObj name="think-cell Slide" r:id="rId1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F752CDD-6FAA-6B01-FD0C-219DC4FB2B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244507E-822E-A92B-8618-653E2E5096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9027" y="561439"/>
            <a:ext cx="10408920" cy="4943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31DFD12-BC38-2B93-A73F-36F0EB9ECF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485900"/>
            <a:ext cx="10972800" cy="476859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418700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9" r:id="rId2"/>
    <p:sldLayoutId id="2147483698" r:id="rId3"/>
    <p:sldLayoutId id="2147483697" r:id="rId4"/>
    <p:sldLayoutId id="2147483778" r:id="rId5"/>
    <p:sldLayoutId id="2147483763" r:id="rId6"/>
    <p:sldLayoutId id="2147483758" r:id="rId7"/>
    <p:sldLayoutId id="2147483759" r:id="rId8"/>
    <p:sldLayoutId id="2147483760" r:id="rId9"/>
    <p:sldLayoutId id="2147483781" r:id="rId10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Montserrat" pitchFamily="2" charset="77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Noto Sans" panose="020B0502040504020204" pitchFamily="34" charset="0"/>
          <a:ea typeface="Noto Sans" panose="020B0502040504020204" pitchFamily="34" charset="0"/>
          <a:cs typeface="Noto Sans" panose="020B0502040504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Noto Sans" panose="020B0502040504020204" pitchFamily="34" charset="0"/>
          <a:ea typeface="Noto Sans" panose="020B0502040504020204" pitchFamily="34" charset="0"/>
          <a:cs typeface="Noto Sans" panose="020B0502040504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i="1" kern="1200">
          <a:solidFill>
            <a:schemeClr val="tx1"/>
          </a:solidFill>
          <a:latin typeface="Noto Sans" panose="020B0502040504020204" pitchFamily="34" charset="0"/>
          <a:ea typeface="Noto Sans" panose="020B0502040504020204" pitchFamily="34" charset="0"/>
          <a:cs typeface="Noto Sans" panose="020B0502040504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>
              <a:lumMod val="50000"/>
              <a:lumOff val="50000"/>
            </a:schemeClr>
          </a:solidFill>
          <a:latin typeface="Noto Sans" panose="020B0502040504020204" pitchFamily="34" charset="0"/>
          <a:ea typeface="Noto Sans" panose="020B0502040504020204" pitchFamily="34" charset="0"/>
          <a:cs typeface="Noto Sans" panose="020B0502040504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900" kern="1200">
          <a:solidFill>
            <a:schemeClr val="tx1">
              <a:lumMod val="50000"/>
              <a:lumOff val="50000"/>
            </a:schemeClr>
          </a:solidFill>
          <a:latin typeface="Noto Sans" panose="020B0502040504020204" pitchFamily="34" charset="0"/>
          <a:ea typeface="Noto Sans" panose="020B0502040504020204" pitchFamily="34" charset="0"/>
          <a:cs typeface="Noto Sans" panose="020B0502040504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">
          <p15:clr>
            <a:srgbClr val="F26B43"/>
          </p15:clr>
        </p15:guide>
        <p15:guide id="2" pos="7296">
          <p15:clr>
            <a:srgbClr val="F26B43"/>
          </p15:clr>
        </p15:guide>
        <p15:guide id="3" pos="3840">
          <p15:clr>
            <a:srgbClr val="F26B43"/>
          </p15:clr>
        </p15:guide>
        <p15:guide id="4" orient="horz" pos="936">
          <p15:clr>
            <a:srgbClr val="F26B43"/>
          </p15:clr>
        </p15:guide>
        <p15:guide id="5" orient="horz" pos="57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9.sv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.xml"/><Relationship Id="rId6" Type="http://schemas.openxmlformats.org/officeDocument/2006/relationships/image" Target="../media/image18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B0C2C8-B3E3-71E2-89DC-CD9CBFA560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5EB3C50-43BD-1ED0-CD53-A01C7AA199A4}"/>
              </a:ext>
            </a:extLst>
          </p:cNvPr>
          <p:cNvCxnSpPr/>
          <p:nvPr/>
        </p:nvCxnSpPr>
        <p:spPr>
          <a:xfrm>
            <a:off x="0" y="0"/>
            <a:ext cx="914400" cy="0"/>
          </a:xfrm>
          <a:prstGeom prst="line">
            <a:avLst/>
          </a:prstGeom>
          <a:ln w="0" cap="flat" cmpd="sng" algn="ctr">
            <a:solidFill>
              <a:srgbClr val="FBFFFF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5DD55FE4-3762-EE3C-4680-A45548540E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DD55FE4-3762-EE3C-4680-A45548540E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phic 3">
            <a:extLst>
              <a:ext uri="{FF2B5EF4-FFF2-40B4-BE49-F238E27FC236}">
                <a16:creationId xmlns:a16="http://schemas.microsoft.com/office/drawing/2014/main" id="{E3114677-0B5D-497A-592D-7EF57416C22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300331" y="509588"/>
            <a:ext cx="523701" cy="548640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E389253-9CB6-4839-13CF-A4B448EFFBB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>
              <a:lnSpc>
                <a:spcPts val="600"/>
              </a:lnSpc>
            </a:pPr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E79C4F4-C653-D989-865F-351B5C9EF1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1249" y="561813"/>
            <a:ext cx="10408920" cy="495935"/>
          </a:xfrm>
        </p:spPr>
        <p:txBody>
          <a:bodyPr vert="horz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82417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28224&quot;&gt;&lt;version val=&quot;35189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5&quot;&gt;&lt;elem m_fUsage=&quot;1.00000000000000000000E+00&quot;&gt;&lt;m_msothmcolidx val=&quot;0&quot;/&gt;&lt;m_rgb r=&quot;90&quot; g=&quot;DE&quot; b=&quot;94&quot;/&gt;&lt;/elem&gt;&lt;elem m_fUsage=&quot;9.00000000000000022204E-01&quot;&gt;&lt;m_msothmcolidx val=&quot;0&quot;/&gt;&lt;m_rgb r=&quot;EB&quot; g=&quot;93&quot; b=&quot;9B&quot;/&gt;&lt;/elem&gt;&lt;elem m_fUsage=&quot;8.10000000000000053291E-01&quot;&gt;&lt;m_msothmcolidx val=&quot;0&quot;/&gt;&lt;m_rgb r=&quot;51&quot; g=&quot;0E&quot; b=&quot;15&quot;/&gt;&lt;/elem&gt;&lt;elem m_fUsage=&quot;7.29000000000000092371E-01&quot;&gt;&lt;m_msothmcolidx val=&quot;0&quot;/&gt;&lt;m_rgb r=&quot;BF&quot; g=&quot;BF&quot; b=&quot;BF&quot;/&gt;&lt;/elem&gt;&lt;elem m_fUsage=&quot;6.56100000000000127542E-01&quot;&gt;&lt;m_msothmcolidx val=&quot;0&quot;/&gt;&lt;m_rgb r=&quot;CC&quot; g=&quot;82&quot; b=&quot;90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ver + Agenda + Divider">
  <a:themeElements>
    <a:clrScheme name="Welocalize 2023">
      <a:dk1>
        <a:srgbClr val="262626"/>
      </a:dk1>
      <a:lt1>
        <a:srgbClr val="FFFFFF"/>
      </a:lt1>
      <a:dk2>
        <a:srgbClr val="1A5979"/>
      </a:dk2>
      <a:lt2>
        <a:srgbClr val="A11D2A"/>
      </a:lt2>
      <a:accent1>
        <a:srgbClr val="8FC9E5"/>
      </a:accent1>
      <a:accent2>
        <a:srgbClr val="249DBA"/>
      </a:accent2>
      <a:accent3>
        <a:srgbClr val="F08220"/>
      </a:accent3>
      <a:accent4>
        <a:srgbClr val="FEB828"/>
      </a:accent4>
      <a:accent5>
        <a:srgbClr val="FAF5E9"/>
      </a:accent5>
      <a:accent6>
        <a:srgbClr val="715646"/>
      </a:accent6>
      <a:hlink>
        <a:srgbClr val="249CB9"/>
      </a:hlink>
      <a:folHlink>
        <a:srgbClr val="1A5979"/>
      </a:folHlink>
    </a:clrScheme>
    <a:fontScheme name="WL Brand">
      <a:majorFont>
        <a:latin typeface="Montserrat ExtraBold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05fd73c6-3251-4f6e-a8f4-a25f5b10b4f5">
      <Terms xmlns="http://schemas.microsoft.com/office/infopath/2007/PartnerControls"/>
    </lcf76f155ced4ddcb4097134ff3c332f>
    <TaxCatchAll xmlns="eb1ac1ab-4087-46a3-a004-309a5026a41f" xsi:nil="true"/>
    <SharedWithUsers xmlns="eb1ac1ab-4087-46a3-a004-309a5026a41f">
      <UserInfo>
        <DisplayName>Elizabeth Tierney</DisplayName>
        <AccountId>13</AccountId>
        <AccountType/>
      </UserInfo>
      <UserInfo>
        <DisplayName>Everyone</DisplayName>
        <AccountId>11</AccountId>
        <AccountType/>
      </UserInfo>
      <UserInfo>
        <DisplayName>SharingLinks.2f80755a-a9fb-4dfe-9026-39d62f2977da.OrganizationView.3974ea2c-e7be-4816-86be-fbe94f5efcad</DisplayName>
        <AccountId>19</AccountId>
        <AccountType/>
      </UserInfo>
      <UserInfo>
        <DisplayName>SharingLinks.83fcfee1-3be3-4691-acff-fe0188fed1b1.OrganizationView.e215c843-a4cd-4f9e-8fe3-dc1ef8f2bb9d</DisplayName>
        <AccountId>36</AccountId>
        <AccountType/>
      </UserInfo>
      <UserInfo>
        <DisplayName>Scott Ellis</DisplayName>
        <AccountId>6</AccountId>
        <AccountType/>
      </UserInfo>
      <UserInfo>
        <DisplayName>Information Systems Admin</DisplayName>
        <AccountId>12</AccountId>
        <AccountType/>
      </UserInfo>
      <UserInfo>
        <DisplayName>SharingLinks.a9484196-9064-4979-bffe-410c74befaf2.OrganizationView.508fafb3-d8b9-47a3-a13c-bdfb951cab5d</DisplayName>
        <AccountId>41</AccountId>
        <AccountType/>
      </UserInfo>
      <UserInfo>
        <DisplayName>Guest Contributor</DisplayName>
        <AccountId>48</AccountId>
        <AccountType/>
      </UserInfo>
      <UserInfo>
        <DisplayName>SharingLinks.6d9b075b-fd9f-4174-b85f-f1ee6adad207.OrganizationView.9b8ae695-3f14-48c2-90b3-f143efad8887</DisplayName>
        <AccountId>33</AccountId>
        <AccountType/>
      </UserInfo>
      <UserInfo>
        <DisplayName>Daniel Allred</DisplayName>
        <AccountId>18</AccountId>
        <AccountType/>
      </UserInfo>
      <UserInfo>
        <DisplayName>Paul Carr</DisplayName>
        <AccountId>2569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50275EACB8B0B4A91468DB60B5DABAF" ma:contentTypeVersion="18" ma:contentTypeDescription="Create a new document." ma:contentTypeScope="" ma:versionID="7b54a98f6d3054b4bab00d088a2a4e33">
  <xsd:schema xmlns:xsd="http://www.w3.org/2001/XMLSchema" xmlns:xs="http://www.w3.org/2001/XMLSchema" xmlns:p="http://schemas.microsoft.com/office/2006/metadata/properties" xmlns:ns2="05fd73c6-3251-4f6e-a8f4-a25f5b10b4f5" xmlns:ns3="eb1ac1ab-4087-46a3-a004-309a5026a41f" targetNamespace="http://schemas.microsoft.com/office/2006/metadata/properties" ma:root="true" ma:fieldsID="54c9fc5b23804c7d0d81141e4aa19e08" ns2:_="" ns3:_="">
    <xsd:import namespace="05fd73c6-3251-4f6e-a8f4-a25f5b10b4f5"/>
    <xsd:import namespace="eb1ac1ab-4087-46a3-a004-309a5026a41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5fd73c6-3251-4f6e-a8f4-a25f5b10b4f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a78c33e5-6563-4876-97e3-137f2dbf0cd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b1ac1ab-4087-46a3-a004-309a5026a41f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5703ca19-996a-4d41-9125-e419fbb35f0d}" ma:internalName="TaxCatchAll" ma:showField="CatchAllData" ma:web="eb1ac1ab-4087-46a3-a004-309a5026a41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0A5B55B-E0B4-4715-8A6A-6AB753C1611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965CB4E-3975-44A3-9BC6-3B6963E12A60}">
  <ds:schemaRefs>
    <ds:schemaRef ds:uri="http://schemas.microsoft.com/office/2006/metadata/properties"/>
    <ds:schemaRef ds:uri="eb1ac1ab-4087-46a3-a004-309a5026a41f"/>
    <ds:schemaRef ds:uri="http://schemas.microsoft.com/office/infopath/2007/PartnerControls"/>
    <ds:schemaRef ds:uri="05fd73c6-3251-4f6e-a8f4-a25f5b10b4f5"/>
    <ds:schemaRef ds:uri="http://schemas.microsoft.com/office/2006/documentManagement/types"/>
    <ds:schemaRef ds:uri="http://schemas.openxmlformats.org/package/2006/metadata/core-properties"/>
    <ds:schemaRef ds:uri="http://purl.org/dc/terms/"/>
    <ds:schemaRef ds:uri="http://purl.org/dc/elements/1.1/"/>
    <ds:schemaRef ds:uri="http://purl.org/dc/dcmitype/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1D1DEAC4-D587-4584-951F-2E248838816F}">
  <ds:schemaRefs>
    <ds:schemaRef ds:uri="05fd73c6-3251-4f6e-a8f4-a25f5b10b4f5"/>
    <ds:schemaRef ds:uri="eb1ac1ab-4087-46a3-a004-309a5026a41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0/xmlns/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d41d420e-6265-4ec2-aeb7-5869659e3fe2}" enabled="0" method="" siteId="{d41d420e-6265-4ec2-aeb7-5869659e3fe2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373</TotalTime>
  <Words>1</Words>
  <Application>Microsoft Office PowerPoint</Application>
  <PresentationFormat>Widescreen</PresentationFormat>
  <Paragraphs>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Montserrat</vt:lpstr>
      <vt:lpstr>Noto Sans</vt:lpstr>
      <vt:lpstr>Cover + Agenda + Divider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>Hermann Raul Herrera Medina</cp:lastModifiedBy>
  <cp:revision>8</cp:revision>
  <dcterms:created xsi:type="dcterms:W3CDTF">2023-03-17T20:17:26Z</dcterms:created>
  <dcterms:modified xsi:type="dcterms:W3CDTF">2025-01-16T19:13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50275EACB8B0B4A91468DB60B5DABAF</vt:lpwstr>
  </property>
  <property fmtid="{D5CDD505-2E9C-101B-9397-08002B2CF9AE}" pid="3" name="MediaServiceImageTags">
    <vt:lpwstr/>
  </property>
</Properties>
</file>